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107" r:id="rId14"/>
    <p:sldId id="2145706075" r:id="rId15"/>
    <p:sldId id="2145706111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49" clrIdx="0">
    <p:extLst>
      <p:ext uri="{19B8F6BF-5375-455C-9EA6-DF929625EA0E}">
        <p15:presenceInfo xmlns:p15="http://schemas.microsoft.com/office/powerpoint/2012/main" userId="Legion" providerId="None"/>
      </p:ext>
    </p:extLst>
  </p:cmAuthor>
  <p:cmAuthor id="2" name="Dang Tai" initials="DT" lastIdx="20" clrIdx="1">
    <p:extLst>
      <p:ext uri="{19B8F6BF-5375-455C-9EA6-DF929625EA0E}">
        <p15:presenceInfo xmlns:p15="http://schemas.microsoft.com/office/powerpoint/2012/main" userId="33320edc9f915d5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95" autoAdjust="0"/>
    <p:restoredTop sz="90886" autoAdjust="0"/>
  </p:normalViewPr>
  <p:slideViewPr>
    <p:cSldViewPr snapToGrid="0">
      <p:cViewPr varScale="1">
        <p:scale>
          <a:sx n="78" d="100"/>
          <a:sy n="78" d="100"/>
        </p:scale>
        <p:origin x="21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5481" y="2302"/>
    <p:text>## list mentor default khi chưa có filter sẽ sort theo tên 
```sql 
SELECT 
    u.id,
    u.name,
    l.name as location,
    j.name AS jobtitle,
    u.role_id,
    COALESCE(AVG(f.rating_star), 0) AS average_rating
FROM [User] u
JOIN Jobtitle j ON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(SELECT setting_value FROM GetSettingValue('Role','Mentor') )
GROUP BY u.id, u.name, l.name, j.name, u.role_id
ORDER BY u.name A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712" y="2223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778" y="2918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778" y="3014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  <p:cm authorId="1" dt="2024-07-02T10:48:41.882" idx="37">
    <p:pos x="5764" y="2296"/>
    <p:text>## lay mentor rating theo location va top rating
```sql
SELECT 
	u.id, u.name, l.name as location, u.role_id , j.name as jobtitle
	,COALESCE(AVG(f.rating_star),0) as average_rating
FROM [User] u
JOIN Jobtitle j ON  u.jobtitle_id = j.id
JOIN Location l on u.location_id = l.id
LEFT JOIN Program p ON u.id = p.user_id
LEFT JOIN Challenge c ON u.id = c.user_id
LEFT JOIN Course co ON u.id = co.user_id
LEFT JOIN Review f ON f.source_id = p.id OR f.source_id = c.id OR f.source_id = co.id
WHERE l.name ='Ho Chi Minh' AND u.role_id = (SELECT setting_value FROM GetSettingValue('Role','Mentor') )
GROUP BY u.id, u.name, 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49:41.891" idx="38">
    <p:pos x="6380" y="2286"/>
    <p:text>## Lay mentor theo ten company
SELECT 
    u.name,
    l.name as location,
    c.name as company,
    c.img as imgcompany,
    COALESCE(AVG(f.rating_star), 0) as average_rating
FROM [User] u
JOIN experience e ON u.id = e.user_id
JOIN company c ON e.company_id = c.id
JOIN Location l ON u.location_id = l.id
LEFT JOIN Program p ON u.id = p.user_id
LEFT JOIN Challenge ch ON u.id = ch.user_id
LEFT JOIN Course co ON u.id = co.user_id
LEFT JOIN Review f ON f.source_id = p.id OR f.source_id = ch.id OR f.source_id = co.id
WHERE c.name = 'bbv' and u.role_id = (SELECT setting_value FROM GetSettingValue('Role','Mentor') )
GROUP BY u.name, l.name, c.name, c.img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1:44.646" idx="39">
    <p:pos x="6074" y="2283"/>
    <p:text>## Lay mentor theo top rating (program , challenges , course)
```sql
SELECT 
    u.id,
    u.name,
    l.name as location,
    j.name AS jobtitle,
    u.role_id,
    COALESCE(AVG(f.rating_star), 0) AS average_rating
FROM [User] u
JOIN Jobtitle j ON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'5'
GROUP BY u.id, u.name, u.location_id,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6:26.266" idx="40">
    <p:pos x="5795" y="2642"/>
    <p:text>## Lay mentor theo jobtitle va top rating
SELECT 
	u.id, u.name, l.name as location, j.name as jobtitle, u.role_id
	,COALESCE(AVG(f.rating_star),0) as average_rating
FROM [User] u
JOIN Jobtitle j ON 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(SELECT setting_value FROM GetSettingValue('Role','Mentor') ) and j.name = 'UI/UX Designer'
GROUP BY u.id, u.name, u.location_id,l.name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5142" y="748"/>
    <p:text>## lay name , jobtitle , role , totalprogram , avgrating , totalfollowers , totalstudent, totalfeedback  cua mentor
```sql
SELECT 
    u.id,
    u.name,
    j.name AS jobtitle,
    u.location_id,
    u.role_id,
    (SELECT COUNT(*) FROM Program WHERE user_id = u.id) AS total_programs,
    (SELECT COUNT(*) FROM (
         SELECT fm.id
         FROM Review fm
         LEFT JOIN Program p ON fm.source_id = p.id AND p.user_id = u.id
         LEFT JOIN Challenge c ON fm.source_id = c.id AND c.user_id = u.id
         LEFT JOIN Course co ON fm.source_id = co.id AND co.user_id = u.id
         WHERE p.user_id = u.id OR c.user_id = u.id OR co.user_id = u.id
         ) AS feedback_count
     ) AS total_feedback,
    (SELECT COUNT(DISTINCT pu.user_id) 
     FROM Program p 
     JOIN ProgramUser pu ON p.id = pu.program_id 
     WHERE p.user_id = u.id
     ) AS total_students_from_programs,
    (SELECT COUNT(DISTINCT cu.user_id)
     FROM Challenge c 
     JOIN ChallengeUser cu ON c.id = cu.challenge_id
     WHERE c.user_id = u.id
     ) AS total_students_from_challenges,
    (SELECT COUNT(*) FROM FollowUser WHERE followee_id = u.id) AS total_followers,
    (SELECT COALESCE(AVG(fm.rating_star), 0)
     FROM Review fm
     LEFT JOIN Program p ON fm.source_id = p.id AND p.user_id = u.id
     LEFT JOIN Challenge c ON fm.source_id = c.id AND c.user_id = u.id
     LEFT JOIN Course co ON fm.source_id = co.id AND co.user_id = u.id
     WHERE p.user_id = u.id OR c.user_id = u.id OR co.user_id = u.id
     ) AS average_rating
FROM [User] u 
JOIN Jobtitle j ON u.jobtitle_id = j.id
WHERE u.id = '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787" y="1457"/>
    <p:text>SELECT 
    p.id,
    p.program_name,
	p.description,
    p.price,
    AVG(f.rating_star) AS total_rating
FROM 
    Review f
JOIN 
    Program p ON f.source_id = p.id
JOIN 
    [User] sender ON f.user_id = sender.id
WHERE 
    p.user_id = '5'
GROUP BY   
    p.id,
    p.program_name,
	p.description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679" y="2769"/>
    <p:text>## lay experience cua 1 user
```sql
-- First part: Selecting from Experience table
SELECT 
    j.name AS jobtitle,
    c.name AS company_name,
    w.name AS type,
    e.isworking
FROM 
    Experience e
JOIN 
    Company c ON e.company_id = c.id
JOIN 
    Jobtitle j ON e.jobtitle_id = j.id
JOIN 
    WorkingType w ON e.type_id = w.id
WHERE 
    e.user_id = '2'
UNION
-- Second part: Selecting from ProgramUser and Program tables
SELECT 
    p.program_name AS jobtitle,
    u.name AS company_name,
    'Online Program' AS type,
    0 AS isworking
FROM 
    ProgramUser pu
JOIN 
    Program p ON pu.program_id = p.id
JOIN 
    [User] u ON p.user_id = u.id
WHERE 
    pu.user_id = '2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999" y="2746"/>
    <p:text>## lay cert cua 1 user
```sql
SELECT ci.id AS CertID, 
       ci.credentialcode, 
       ci.certified_at, 
       COALESCE(p.program_name, c.name, ch.challenge_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288" y="2737"/>
    <p:text>SELECT 
    fm.user_id,
    fm.rating_star, 
    fm.content,
    CASE 
        WHEN P.program_name IS NOT NULL THEN CONCAT('Program: ', P.program_name)
        WHEN C.challenge_name IS NOT NULL THEN CONCAT('Challenge: ', C.challenge_name)
        WHEN CO.name IS NOT NULL THEN CONCAT('Course: ', CO.name)
    END AS name
FROM Review FM
LEFT JOIN Program P ON FM.source_id = P.id AND fm.source_type_id = '3'
LEFT JOIN Challenge C ON FM.source_id = C.id AND fm.source_type_id = '2'
LEFT JOIN Course CO ON FM.source_id = CO.id AND fm.source_type_id = '1'
WHERE 
    P.user_id = '2' OR 
    C.user_id = '2' OR 
    CO.user_id = '2';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18:57.622" idx="1">
    <p:pos x="4841" y="4302"/>
    <p:text>Select s.name from UserSkill u
JOIN Skill s on u.skill_id = s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21:11.149" idx="2">
    <p:pos x="4878" y="5039"/>
    <p:text>SELECT un.name,un.img, u.degree FROM Education u 
JOIN University un on u.university_id = un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2:07.006" idx="3">
    <p:pos x="5153" y="432"/>
    <p:text>SELECT c.name from Program p
JOIN Category c on p.category_id = c.id
WHERE p.user_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3:47.678" idx="4">
    <p:pos x="4872" y="418"/>
    <p:text>SELECT * FROM [User]  u
WHERE u.id = 2 and u.role_id = (SELECT setting_value FROM GetSettingValue('Role','Mentor') )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5:30.929" idx="5">
    <p:pos x="6701" y="1868"/>
    <p:text>Select a.startAt,a.endAt,p.program_name,p.price from AdsProgram a
JOIN Program p on a.program_id = p.id
WHERE p.user_id = 5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55:58.022" idx="6">
    <p:pos x="6111" y="221"/>
    <p:text>SELECT TOP 10 
    u.name AS mentor_name, 
    AVG(r.rating_star) AS average_rating, 
    COUNT(DISTINCT pu.user_id) AS student_enrollment
FROM [User] u
LEFT JOIN Review r ON u.id = r.user_id 
LEFT JOIN Program p ON r.source_id = p.id 
LEFT JOIN ProgramUser pu ON p.id = pu.program_id 
WHERE u.role_id = (SELECT setting_value FROM GetSettingValue('Role','Mentor') )
GROUP BY u.id, u.name
ORDER BY average_rating DESC, student_enrollment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08:53.706" idx="42">
    <p:pos x="4686" y="932"/>
    <p:text>SELECT count(*) from event
WHERE user_id = 1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11.140" idx="43">
    <p:pos x="5700" y="929"/>
    <p:text>SELECT count(*) as participants from EventUser
Where user_id = 1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34.726" idx="45">
    <p:pos x="5824" y="2099"/>
    <p:text>SELECT 
    e.*,
    (SELECT COUNT(*) FROM EventUser WHERE event_id = e.id) AS participants
FROM EVENT e
WHERE e.user_id = 1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16:37.080" idx="46">
    <p:pos x="6747" y="1010"/>
    <p:text>WITH combined_views AS (
    SELECT views 
    FROM Event
    WHERE user_id = 1
)
SELECT SUM(views) AS total_views
FROM combined_views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u.role_id,
    (SELECT COUNT(*) 
     FROM FollowUser 
     WHERE followee_id = u.id) as total_followers
FROM [User] u 
JOIN Jobtitle j ON u.jobtitle_id = j.id
JOIN Location l ON u.location_id = l.id
WHERE u.id = 4 and  u.role_id = (SELECT setting_value FROM GetSettingValue('Role','Mentee') ) 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7:03.691" idx="8">
    <p:pos x="5442" y="685"/>
    <p:text>## lay experience cua 1 user
```sql
-- First part: Selecting from Experience table
SELECT 
    j.name AS jobtitle,
    c.name AS company_name,
    w.name AS type,
    e.isworking
FROM 
    Experience e
JOIN 
    Company c ON e.company_id = c.id
JOIN 
    Jobtitle j ON e.jobtitle_id = j.id
JOIN 
    WorkingType w ON e.type_id = w.id
WHERE 
    e.user_id = '2'
UNION
-- Second part: Selecting from ProgramUser and Program tables
SELECT 
    p.program_name AS jobtitle,
    u.name AS company_name,
    'Online Program' AS type,
    0 AS isworking
FROM 
    ProgramUser pu
JOIN 
    Program p ON pu.program_id = p.id
JOIN 
    [User] u ON p.user_id = u.id
WHERE 
    pu.user_id = '2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9:08.590" idx="13">
    <p:pos x="5844" y="697"/>
    <p:text>## lay cert cua 1 user
```sql
SELECT ci.id AS CertID, 
       ci.credentialcode, 
       ci.certified_at, 
       COALESCE(p.program_name, c.name, ch.challenge_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4-07-08T15:36:17.197" idx="16">
    <p:pos x="4560" y="1124"/>
    <p:text>SELECT * FROM [User] u
WHERE u.role_id =  (SELECT setting_value FROM GetSettingValue('Role','Mentor') )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7:58.969" idx="17">
    <p:pos x="3792" y="1095"/>
    <p:text>SELECT * 
FROM [User] u
ORDER BY u.createAt DESC;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8:54.027" idx="18">
    <p:pos x="6837" y="1162"/>
    <p:text>SELECT * 
FROM [User] u
WHERE u.name = 'Khoa Nguyen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0:54.764" idx="19">
    <p:pos x="5121" y="1550"/>
    <p:text>SELECT u.name , u.createAt,u.role_id, u.status FROM [User] u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1:10.241" idx="20">
    <p:pos x="4176" y="1097"/>
    <p:text>SELECT u.name , u.createAt,u.role_id, u.status FROM [User] u
WHERE u.status = 1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		(SELECT COUNT(*) FROM [User]) AS TotalUsers,
    (SELECT COUNT(*) FROM [User]
     WHERE MONTH(createAt) = MONTH(GETDATE()) 
       AND YEAR(createAt) = YEAR(GETDATE())) AS UsersThisMonth,
    ROUND(
        (
            (SELECT COUNT(*) FROM [User]
             WHERE MONTH(createAt) = MONTH(GETDATE()) 
               AND YEAR(createAt) = YEAR(GETDATE())) -
            (SELECT COUNT(*) FROM [User]
             WHERE MONTH(createAt) = MONTH(DATEADD(MONTH, -1, GETDATE())) 
               AND YEAR(createAt) = YEAR(GETDATE()))
        ) / NULLIF((SELECT COUNT(*) FROM [User] 
                    WHERE MONTH(createAt) = MONTH(DATEADD(MONTH, -1, GETDATE())) 
                      AND YEAR(createAt) = YEAR(GETDATE())), 0) * 100, 2
    ) AS PercentageChangeThisMonth,
    (SELECT COUNT(*) FROM [User]
     WHERE DATEPART(ISO_WEEK, createAt) = DATEPART(ISO_WEEK, GETDATE()) 
       AND YEAR(createAt) = YEAR(GETDATE())) AS UsersThisWeek,
    ROUND(
        (
            (SELECT COUNT(*) FROM [User] 
             WHERE DATEPART(ISO_WEEK, createAt) = DATEPART(ISO_WEEK, GETDATE()) 
               AND YEAR(createAt) = YEAR(GETDATE())) -
            (SELECT COUNT(*) FROM [User]
             WHERE DATEPART(ISO_WEEK, createAt) = DATEPART(ISO_WEEK, DATEADD(WEEK, -1, GETDATE())) 
               AND YEAR(createAt) = YEAR(GETDATE()))
        ) / NULLIF((SELECT COUNT(*) FROM [User]
                    WHERE DATEPART(ISO_WEEK, createAt) = DATEPART(ISO_WEEK, DATEADD(WEEK, -1, GETDATE())) 
                      AND YEAR(createAt) = YEAR(GETDATE())), 0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3 THEN 1 ELSE 0 END) AS TotalMentees,
    -- Total Mentors
    SUM(CASE WHEN role_id = 2 THEN 1 ELSE 0 END) AS TotalMentors,
    -- Percentage of Mentees
    ROUND(
        (SUM(CASE WHEN role_id = 3 THEN 1 ELSE 0 END) * 100.0 / COUNT(*)), 2
    ) AS PercentageMentees,
    -- Percentage of Mentors
    ROUND(
        (SUM(CASE WHEN role_id = 2 THEN 1 ELSE 0 END) * 100.0 / COUNT(*)), 2
    ) AS PercentageMentors
FROM [User]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847" y="1707"/>
    <p:text>SELECT 
    -- Mentors This Month
    (SELECT COUNT(*) FROM Userr
     WHERE role_id = 'R1') AS TotalMentor,
    -- Percentage Change in Mentors This Month
    CASE
        WHEN (SELECT COUNT(*) FROM Userr
              WHERE role_id = 'R1' 
                AND MONTH(createAt) = MONTH(DATEADD(MONTH, -1, GETDATE())) 
                AND YEAR(createAt) = YEAR(GETDATE())) = 0 THEN 0
        ELSE ROUND(
            (
                (SELECT COUNT(*) FROM Userr
                 WHERE role_id = 'R1' 
                   AND MONTH(createAt) = MONTH(GETDATE()) 
                   AND YEAR(createAt) = YEAR(GETDATE())) -
                (SELECT COUNT(*) FROM Userr
                 WHERE role_id = 'R1' 
                   AND MONTH(createAt) = MONTH(DATEADD(MONTH, -1, GETDATE())) 
                   AND YEAR(createAt) = YEAR(GETDATE()))
            ) * 100.0 / NULLIF(
                (SELECT COUNT(*) FROM Userr
                 WHERE role_id = 'R1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84" y="1249"/>
    <p:text>SELECT 
    -- Mentors This Month
    (SELECT COUNT(*) FROM Userr
     WHERE role_id = 'R2') AS TotalMentor,
    -- Percentage Change in Mentors This Month
    CASE
        WHEN (SELECT COUNT(*) FROM Userr
              WHERE role_id = 'R2' 
                AND MONTH(createAt) = MONTH(DATEADD(MONTH, -1, GETDATE())) 
                AND YEAR(createAt) = YEAR(GETDATE())) = 0 THEN 0
        ELSE ROUND(
            (
                (SELECT COUNT(*) FROM Userr
                 WHERE role_id = 'R2' 
                   AND MONTH(createAt) = MONTH(GETDATE()) 
                   AND YEAR(createAt) = YEAR(GETDATE())) -
                (SELECT COUNT(*) FROM Userr
                 WHERE role_id = 'R2' 
                   AND MONTH(createAt) = MONTH(DATEADD(MONTH, -1, GETDATE())) 
                   AND YEAR(createAt) = YEAR(GETDATE()))
            ) * 100.0 / NULLIF(
                (SELECT COUNT(*) FROM Userr
                 WHERE role_id = 'R2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27" y="1726"/>
    <p:text>SELECT 
    -- Total Mentors This Week
    (SELECT COUNT(*) FROM Userr 
     WHERE role_id = 'R1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1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1' 
                   AND DATEPART(WEEK, createAt) = DATEPART(WEEK, GETDATE()) 
                   AND YEAR(createAt) = YEAR(GETDATE())) -
                (SELECT COUNT(*) FROM Userr 
                 WHERE role_id = 'R1' 
                   AND DATEPART(WEEK, createAt) = DATEPART(WEEK, DATEADD(WEEK, -1, GETDATE())) 
                   AND YEAR(createAt) = YEAR(DATEADD(WEEK, -1, GETDATE())))
            ) / NULLIF(
                (SELECT COUNT(*) FROM Userr 
                 WHERE role_id = 'R1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255"/>
    <p:text>SELECT 
    -- Total Mentors This Week
    (SELECT COUNT(*) FROM Userr 
     WHERE role_id = 'R2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2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2' 
                   AND DATEPART(WEEK, createAt) = DATEPART(WEEK, GETDATE()) 
                   AND YEAR(createAt) = YEAR(GETDATE())) -
                (SELECT COUNT(*) FROM Userr 
                 WHERE role_id = 'R2' 
                   AND DATEPART(WEEK, createAt) = DATEPART(WEEK, DATEADD(WEEK, -1, GETDATE())) 
                   AND YEAR(createAt) = YEAR(DATEADD(WEEK, -1, GETDATE())))
            ) / NULLIF(
                (SELECT COUNT(*) FROM Userr 
                 WHERE role_id = 'R2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Userr
GROUP BY 
    CASE
        WHEN age BETWEEN 15 AND 20 THEN '15-20'
        WHEN age BETWEEN 21 AND 25 THEN '21-25'
        WHEN age BETWEEN 26 AND 30 THEN '26-30'
        WHEN age BETWEEN 31 AND 35 THEN '31-35'
        ELSE 'Other'
    END,
    gender
ORDER BY AgeGroup, gend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0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0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1051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Statistic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ếu</a:t>
            </a:r>
            <a:r>
              <a:rPr lang="en-GB" sz="1200" b="0" kern="0" noProof="0" dirty="0">
                <a:solidFill>
                  <a:schemeClr val="bg1"/>
                </a:solidFill>
              </a:rPr>
              <a:t> Total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ược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ố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ê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ời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ian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ã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họn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ậy</a:t>
            </a:r>
            <a:r>
              <a:rPr lang="en-GB" sz="1200" b="0" kern="0" noProof="0" dirty="0">
                <a:solidFill>
                  <a:schemeClr val="bg1"/>
                </a:solidFill>
              </a:rPr>
              <a:t> +15%, +32%, -54% from last week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ó</a:t>
            </a:r>
            <a:r>
              <a:rPr lang="en-GB" sz="1200" b="0" kern="0" noProof="0" dirty="0">
                <a:solidFill>
                  <a:schemeClr val="bg1"/>
                </a:solidFill>
              </a:rPr>
              <a:t> ý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ghĩ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ín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hư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ế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ào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Total view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ổ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t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à</a:t>
            </a:r>
            <a:r>
              <a:rPr lang="en-GB" sz="1200" b="0" kern="0" noProof="0" dirty="0">
                <a:solidFill>
                  <a:schemeClr val="bg1"/>
                </a:solidFill>
              </a:rPr>
              <a:t> event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a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hô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ác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ành</a:t>
            </a:r>
            <a:r>
              <a:rPr lang="en-GB" sz="1200" b="0" kern="0" noProof="0" dirty="0">
                <a:solidFill>
                  <a:schemeClr val="bg1"/>
                </a:solidFill>
              </a:rPr>
              <a:t> 2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ể</a:t>
            </a:r>
            <a:r>
              <a:rPr lang="en-GB" sz="1200" b="0" kern="0" noProof="0" dirty="0">
                <a:solidFill>
                  <a:schemeClr val="bg1"/>
                </a:solidFill>
              </a:rPr>
              <a:t> ment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biết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ố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ng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ừng</a:t>
            </a:r>
            <a:r>
              <a:rPr lang="en-GB" sz="1200" b="0" kern="0" noProof="0" dirty="0">
                <a:solidFill>
                  <a:schemeClr val="bg1"/>
                </a:solidFill>
              </a:rPr>
              <a:t> post/ev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My Post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ột</a:t>
            </a:r>
            <a:r>
              <a:rPr lang="en-GB" sz="1200" b="0" kern="0" noProof="0" dirty="0">
                <a:solidFill>
                  <a:schemeClr val="bg1"/>
                </a:solidFill>
              </a:rPr>
              <a:t> new sub, opene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6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</a:t>
            </a:r>
            <a:r>
              <a:rPr lang="vi-VN" noProof="0" dirty="0"/>
              <a:t> </a:t>
            </a:r>
            <a:r>
              <a:rPr lang="en-GB" noProof="0" dirty="0"/>
              <a:t>Even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5E0D10-5EE9-3301-FA62-CE857FCF44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1446" y="302771"/>
            <a:ext cx="7030484" cy="505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19D12F-F47B-102E-3BA2-B262F292D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10230"/>
            <a:ext cx="6094900" cy="677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711067-84AF-8732-3637-A92086491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4503" y="826354"/>
            <a:ext cx="6947497" cy="489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0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9759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AC6E3E1-079A-0221-0DE3-83BDB045E2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1404" y="0"/>
            <a:ext cx="48480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388" y="775374"/>
            <a:ext cx="5297612" cy="60826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FE6E89-C3A3-6023-A0E4-920FB6FF6F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7385" y="0"/>
            <a:ext cx="4962584" cy="899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963</TotalTime>
  <Words>954</Words>
  <Application>Microsoft Office PowerPoint</Application>
  <PresentationFormat>Widescreen</PresentationFormat>
  <Paragraphs>157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Event </vt:lpstr>
      <vt:lpstr>Mentee Profile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Dang Tai</cp:lastModifiedBy>
  <cp:revision>143</cp:revision>
  <dcterms:created xsi:type="dcterms:W3CDTF">2023-03-02T06:20:39Z</dcterms:created>
  <dcterms:modified xsi:type="dcterms:W3CDTF">2024-07-10T07:3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